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98" r:id="rId5"/>
    <p:sldId id="337" r:id="rId6"/>
    <p:sldId id="338" r:id="rId7"/>
    <p:sldId id="339" r:id="rId8"/>
    <p:sldId id="360" r:id="rId9"/>
    <p:sldId id="368" r:id="rId10"/>
    <p:sldId id="366" r:id="rId11"/>
    <p:sldId id="365" r:id="rId12"/>
    <p:sldId id="362" r:id="rId13"/>
    <p:sldId id="371" r:id="rId14"/>
    <p:sldId id="353" r:id="rId15"/>
    <p:sldId id="364" r:id="rId16"/>
    <p:sldId id="361" r:id="rId17"/>
    <p:sldId id="355" r:id="rId18"/>
    <p:sldId id="359" r:id="rId19"/>
    <p:sldId id="340" r:id="rId20"/>
    <p:sldId id="357" r:id="rId21"/>
    <p:sldId id="369" r:id="rId22"/>
    <p:sldId id="367" r:id="rId23"/>
    <p:sldId id="354" r:id="rId24"/>
    <p:sldId id="333" r:id="rId25"/>
  </p:sldIdLst>
  <p:sldSz cx="13004800" cy="7315200"/>
  <p:notesSz cx="7010400" cy="9296400"/>
  <p:custDataLst>
    <p:tags r:id="rId28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096" userDrawn="1">
          <p15:clr>
            <a:srgbClr val="A4A3A4"/>
          </p15:clr>
        </p15:guide>
        <p15:guide id="4" orient="horz" pos="23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9DDA"/>
    <a:srgbClr val="606061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3169BB-92CE-4CE1-962F-A60733D60926}" v="33" dt="2021-05-27T15:40:27.7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18" autoAdjust="0"/>
    <p:restoredTop sz="94660"/>
  </p:normalViewPr>
  <p:slideViewPr>
    <p:cSldViewPr showGuides="1">
      <p:cViewPr varScale="1">
        <p:scale>
          <a:sx n="68" d="100"/>
          <a:sy n="68" d="100"/>
        </p:scale>
        <p:origin x="786" y="60"/>
      </p:cViewPr>
      <p:guideLst>
        <p:guide pos="4096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51" d="100"/>
          <a:sy n="51" d="100"/>
        </p:scale>
        <p:origin x="2862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6/1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6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quez pour modifier les styles du texte principal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9.emf"/><Relationship Id="rId10" Type="http://schemas.openxmlformats.org/officeDocument/2006/relationships/image" Target="../media/image6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11" Type="http://schemas.openxmlformats.org/officeDocument/2006/relationships/image" Target="../media/image8.svg"/><Relationship Id="rId5" Type="http://schemas.openxmlformats.org/officeDocument/2006/relationships/image" Target="../media/image9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0138" y="2525053"/>
            <a:ext cx="11131848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0138" y="3971957"/>
            <a:ext cx="9103361" cy="305468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11551118" y="5858178"/>
            <a:ext cx="1301804" cy="1358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330139" y="4904200"/>
            <a:ext cx="9191140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B65AFB-FF47-442D-9BDB-15F69649DA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74B81FA6-8121-4387-8DE3-1086FF9463A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8" name="Graphic 3">
              <a:extLst>
                <a:ext uri="{FF2B5EF4-FFF2-40B4-BE49-F238E27FC236}">
                  <a16:creationId xmlns:a16="http://schemas.microsoft.com/office/drawing/2014/main" id="{84E6CCD5-5941-4F6D-8F5D-099833C54F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75B42211-8914-436B-A695-0BD58352E0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A5511184-EFAB-4631-B049-FA9161CB89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170" y="1960563"/>
            <a:ext cx="12338601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40169" y="2486026"/>
            <a:ext cx="365641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9022360" y="2486026"/>
            <a:ext cx="365641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4681265" y="2486026"/>
            <a:ext cx="365641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817" y="2529054"/>
            <a:ext cx="11454001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1601307" y="105207"/>
            <a:ext cx="1301804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914E333-5364-48CD-AA85-8B8827535BA4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7" name="Graphic 3">
              <a:extLst>
                <a:ext uri="{FF2B5EF4-FFF2-40B4-BE49-F238E27FC236}">
                  <a16:creationId xmlns:a16="http://schemas.microsoft.com/office/drawing/2014/main" id="{282E0BAA-C314-41BE-93BB-B416916A56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341499A5-F978-415F-B0C8-55ABF6E488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F237F2DB-DF94-4361-AC5B-861DF99903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4" y="0"/>
            <a:ext cx="13004631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67E83C-8D72-4F87-B17B-D5C220AFB8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6324600"/>
            <a:ext cx="2447647" cy="69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image" Target="../media/image4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8.svg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5" Type="http://schemas.openxmlformats.org/officeDocument/2006/relationships/image" Target="../media/image7.png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Relationship Id="rId14" Type="http://schemas.openxmlformats.org/officeDocument/2006/relationships/image" Target="../media/image6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2117" y="1589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7" y="1589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quez pour modifier le style du titre principal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9403" y="1960563"/>
            <a:ext cx="12338601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quez pour modifier les styles du texte principal</a:t>
            </a:r>
          </a:p>
          <a:p>
            <a:pPr lvl="1"/>
            <a:r>
              <a:rPr lang="en-US" dirty="0"/>
              <a:t>Deuxième niveau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11377613" y="7071956"/>
            <a:ext cx="128265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335931" y="688273"/>
            <a:ext cx="12362498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46D1D9C-C628-424F-8135-0FB2CA693B5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56D2BD5-82F8-4365-ACF0-EAE267FDE52E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2129004" y="158744"/>
            <a:ext cx="613930" cy="565611"/>
            <a:chOff x="17454" y="1303"/>
            <a:chExt cx="464234" cy="427420"/>
          </a:xfrm>
        </p:grpSpPr>
        <p:pic>
          <p:nvPicPr>
            <p:cNvPr id="14" name="Graphic 3">
              <a:extLst>
                <a:ext uri="{FF2B5EF4-FFF2-40B4-BE49-F238E27FC236}">
                  <a16:creationId xmlns:a16="http://schemas.microsoft.com/office/drawing/2014/main" id="{BCC324CE-B93B-43C1-B98D-AA20F4EA9F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5" name="Graphic 4">
              <a:extLst>
                <a:ext uri="{FF2B5EF4-FFF2-40B4-BE49-F238E27FC236}">
                  <a16:creationId xmlns:a16="http://schemas.microsoft.com/office/drawing/2014/main" id="{89446A89-02B1-473D-B081-6CBC7C2666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6" name="Graphic 11">
              <a:extLst>
                <a:ext uri="{FF2B5EF4-FFF2-40B4-BE49-F238E27FC236}">
                  <a16:creationId xmlns:a16="http://schemas.microsoft.com/office/drawing/2014/main" id="{30AE010B-F152-4A56-9AC2-4B70BA16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799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93" userDrawn="1">
          <p15:clr>
            <a:srgbClr val="F26B43"/>
          </p15:clr>
        </p15:guide>
        <p15:guide id="10" pos="7615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3712" userDrawn="1">
          <p15:clr>
            <a:srgbClr val="F26B43"/>
          </p15:clr>
        </p15:guide>
        <p15:guide id="17" pos="4480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9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5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2.xml"/><Relationship Id="rId7" Type="http://schemas.openxmlformats.org/officeDocument/2006/relationships/hyperlink" Target="mailto:Covidvaccines@un.org" TargetMode="Externa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hyperlink" Target="mailto:dos-dhmosh-public-health@un.org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5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994313"/>
              </p:ext>
            </p:ext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38BF67-C008-4A01-AB0C-422324EE6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3EC7C1B-FDF5-4B29-8020-F341F91D9D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8652" y="2290097"/>
            <a:ext cx="12528612" cy="1103519"/>
          </a:xfrm>
        </p:spPr>
        <p:txBody>
          <a:bodyPr/>
          <a:lstStyle/>
          <a:p>
            <a:pPr algn="ctr"/>
            <a:r>
              <a:rPr lang="fr-FR" dirty="0"/>
              <a:t>LUTTER CONTRE LA RÉTICENCE À LA VACCINATION CONTRE LA COVID-19</a:t>
            </a:r>
            <a:endParaRPr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8741" y="3696491"/>
            <a:ext cx="9103361" cy="450188"/>
          </a:xfrm>
        </p:spPr>
        <p:txBody>
          <a:bodyPr/>
          <a:lstStyle/>
          <a:p>
            <a:r>
              <a:rPr lang="en-US" sz="2800" dirty="0"/>
              <a:t>DHMOSH Section santé publiqu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0138" y="4473343"/>
            <a:ext cx="9191140" cy="1268000"/>
          </a:xfrm>
        </p:spPr>
        <p:txBody>
          <a:bodyPr/>
          <a:lstStyle/>
          <a:p>
            <a:r>
              <a:rPr lang="en-US" sz="2800" dirty="0"/>
              <a:t>Dr. Esther Tan</a:t>
            </a:r>
          </a:p>
          <a:p>
            <a:r>
              <a:rPr lang="en-US" sz="2800" dirty="0"/>
              <a:t>Médecin-conseil principal</a:t>
            </a:r>
          </a:p>
          <a:p>
            <a:endParaRPr lang="en-US" sz="2800" dirty="0"/>
          </a:p>
          <a:p>
            <a:r>
              <a:rPr lang="en-US" sz="2800" dirty="0"/>
              <a:t>Mai 2021</a:t>
            </a: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58C3D96-62CC-4735-A38F-8C24FBCA91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1525" y="1066800"/>
            <a:ext cx="6381750" cy="5483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818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800" y="152400"/>
            <a:ext cx="10820400" cy="1752600"/>
          </a:xfrm>
        </p:spPr>
        <p:txBody>
          <a:bodyPr/>
          <a:lstStyle/>
          <a:p>
            <a:pPr algn="ctr"/>
            <a:r>
              <a:rPr lang="fr-FR" sz="3600" dirty="0"/>
              <a:t>De quelle manière la sécurité, la réponse immunitaire et l'efficacité des vaccins sont-elles testées ? </a:t>
            </a:r>
            <a:endParaRPr lang="en-US" sz="3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B9FF0D2-8801-4C38-9311-2FDF4023C6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35400" y="2173914"/>
            <a:ext cx="5029200" cy="4553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7878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54886DD-9F67-4460-BCD0-C61E369E47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900" y="76200"/>
            <a:ext cx="12777000" cy="7063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9650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0"/>
            <a:ext cx="10338176" cy="796736"/>
          </a:xfrm>
        </p:spPr>
        <p:txBody>
          <a:bodyPr/>
          <a:lstStyle/>
          <a:p>
            <a:pPr algn="ctr"/>
            <a:r>
              <a:rPr lang="en-US" sz="4000" dirty="0"/>
              <a:t> Étapes séquentielles vs en parallèle </a:t>
            </a:r>
            <a:endParaRPr lang="en-US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E607E6-2020-4BA8-8D6C-2BD21111A9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49800" y="914400"/>
            <a:ext cx="4205288" cy="6195396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6586748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00FFE8-7039-415A-8ECD-E7423C2DF3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1800" y="476270"/>
            <a:ext cx="10028175" cy="633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026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E6EA0E7-05DA-42E6-98A0-67AB5F59A3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30500" y="246573"/>
            <a:ext cx="7543800" cy="6793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1098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1800" y="2133600"/>
            <a:ext cx="10338176" cy="796736"/>
          </a:xfrm>
        </p:spPr>
        <p:txBody>
          <a:bodyPr/>
          <a:lstStyle/>
          <a:p>
            <a:pPr algn="ctr"/>
            <a:r>
              <a:rPr lang="en-US" sz="3900" dirty="0"/>
              <a:t>Essai de phase 3 du vaccin AZ sur 11 000 personnes</a:t>
            </a:r>
            <a:br>
              <a:rPr lang="en-US" sz="4000" dirty="0"/>
            </a:br>
            <a:r>
              <a:rPr lang="en-US" sz="3600" i="1" dirty="0">
                <a:solidFill>
                  <a:srgbClr val="FF0000"/>
                </a:solidFill>
              </a:rPr>
              <a:t>30 cas dans le groupe vacciné contre </a:t>
            </a:r>
            <a:br>
              <a:rPr lang="en-US" sz="3600" i="1" dirty="0">
                <a:solidFill>
                  <a:srgbClr val="FF0000"/>
                </a:solidFill>
              </a:rPr>
            </a:br>
            <a:r>
              <a:rPr lang="en-US" sz="3600" i="1" dirty="0">
                <a:solidFill>
                  <a:srgbClr val="FF0000"/>
                </a:solidFill>
              </a:rPr>
              <a:t>101 cas dans le groupe témoin</a:t>
            </a:r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13010F-28EB-4C27-9B62-578ADC259E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0704" y="3124200"/>
            <a:ext cx="6723391" cy="348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381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000" y="158892"/>
            <a:ext cx="10439400" cy="1060308"/>
          </a:xfrm>
        </p:spPr>
        <p:txBody>
          <a:bodyPr/>
          <a:lstStyle/>
          <a:p>
            <a:pPr algn="ctr"/>
            <a:r>
              <a:rPr lang="en-US" sz="3600" dirty="0" err="1"/>
              <a:t>Risque</a:t>
            </a:r>
            <a:r>
              <a:rPr lang="en-US" sz="3600" dirty="0"/>
              <a:t> de </a:t>
            </a:r>
            <a:r>
              <a:rPr lang="fr-FR" sz="3600" dirty="0"/>
              <a:t>thrombocytopénie immunitaire </a:t>
            </a:r>
            <a:r>
              <a:rPr lang="fr-FR" sz="3600" dirty="0" err="1"/>
              <a:t>prothrombotique</a:t>
            </a:r>
            <a:r>
              <a:rPr lang="fr-FR" sz="3600" dirty="0"/>
              <a:t> induite par le vaccin » (TIPIV)</a:t>
            </a:r>
            <a:r>
              <a:rPr lang="en-US" sz="3600" dirty="0"/>
              <a:t>?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79BCD9A-C6A0-476F-84C5-D7C273170D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000" y="1524000"/>
            <a:ext cx="11963400" cy="5479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0200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F35351D-2C6E-44EF-8541-77829DC8CF3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1D789C-44ED-49B1-A801-AD22929ECB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1500" y="266700"/>
            <a:ext cx="6781800" cy="678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512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DDE1D20-070F-4458-A7A2-2804120943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D5F3DA-99F2-4F0B-985E-4B1507E5772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25CC18-A744-4A14-9382-98E47A3CFEC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356CDA-5E55-4334-8E92-532356939CB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DC52C9A-FB6B-4DEA-8E47-5A1731280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Quel choix ferez-vous 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095690E-BCED-4173-BD4E-5A6EF9C4F4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586" y="2041538"/>
            <a:ext cx="12009768" cy="4575150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852708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5200" y="152400"/>
            <a:ext cx="9372600" cy="1143000"/>
          </a:xfrm>
        </p:spPr>
        <p:txBody>
          <a:bodyPr/>
          <a:lstStyle/>
          <a:p>
            <a:pPr algn="ctr"/>
            <a:r>
              <a:rPr lang="en-US" sz="4000" dirty="0"/>
              <a:t>Préoccupations concernant le </a:t>
            </a:r>
            <a:r>
              <a:rPr lang="en-US" sz="4000" dirty="0" err="1"/>
              <a:t>vaccin</a:t>
            </a:r>
            <a:r>
              <a:rPr lang="en-US" sz="4000" dirty="0"/>
              <a:t> COVID-19</a:t>
            </a: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F4854F-5A7C-4694-93CD-6B500BFEF0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2924" y="1649328"/>
            <a:ext cx="12478952" cy="4980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2732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F83CAA-93DC-480E-ACBA-F4D31DD2C8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44800" y="1996233"/>
            <a:ext cx="6960237" cy="3986093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6226020-84D5-4C3D-A758-86253BA0509B}"/>
              </a:ext>
            </a:extLst>
          </p:cNvPr>
          <p:cNvSpPr/>
          <p:nvPr/>
        </p:nvSpPr>
        <p:spPr>
          <a:xfrm>
            <a:off x="2000919" y="164143"/>
            <a:ext cx="10044737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000" b="1" dirty="0"/>
              <a:t>Pour en savoir plus sur les principes de </a:t>
            </a:r>
          </a:p>
          <a:p>
            <a:pPr algn="ctr"/>
            <a:r>
              <a:rPr lang="en-US" sz="4000" b="1" dirty="0"/>
              <a:t>base de COVID-19, cliquez ici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21B59F-3F13-4535-B6AE-692B756B97AC}"/>
              </a:ext>
            </a:extLst>
          </p:cNvPr>
          <p:cNvSpPr/>
          <p:nvPr/>
        </p:nvSpPr>
        <p:spPr>
          <a:xfrm>
            <a:off x="2734378" y="6181926"/>
            <a:ext cx="753603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>
                <a:solidFill>
                  <a:srgbClr val="000000"/>
                </a:solidFill>
              </a:rPr>
              <a:t>https://youtu.be/hcs2Esr0CFQ</a:t>
            </a:r>
          </a:p>
        </p:txBody>
      </p:sp>
    </p:spTree>
    <p:extLst>
      <p:ext uri="{BB962C8B-B14F-4D97-AF65-F5344CB8AC3E}">
        <p14:creationId xmlns:p14="http://schemas.microsoft.com/office/powerpoint/2010/main" val="30037470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312" y="7924800"/>
            <a:ext cx="10338176" cy="796736"/>
          </a:xfrm>
        </p:spPr>
        <p:txBody>
          <a:bodyPr/>
          <a:lstStyle/>
          <a:p>
            <a:pPr algn="ctr"/>
            <a:r>
              <a:rPr lang="en-US" sz="3600" b="0" dirty="0">
                <a:solidFill>
                  <a:schemeClr val="bg2"/>
                </a:solidFill>
              </a:rPr>
              <a:t>Pour toute question, veuillez contacter</a:t>
            </a:r>
            <a:br>
              <a:rPr lang="en-US" sz="4000" b="0" dirty="0">
                <a:solidFill>
                  <a:schemeClr val="bg2"/>
                </a:solidFill>
              </a:rPr>
            </a:br>
            <a:r>
              <a:rPr lang="en-US" sz="4000" b="0" dirty="0">
                <a:solidFill>
                  <a:schemeClr val="bg2"/>
                </a:solidFill>
                <a:hlinkClick r:id="rId6"/>
              </a:rPr>
              <a:t>dos-dhmosh-public-health@un.org</a:t>
            </a:r>
            <a:br>
              <a:rPr lang="en-US" sz="4000" b="0" dirty="0">
                <a:solidFill>
                  <a:schemeClr val="bg2"/>
                </a:solidFill>
              </a:rPr>
            </a:br>
            <a:r>
              <a:rPr lang="en-US" sz="4000" b="0" dirty="0">
                <a:solidFill>
                  <a:schemeClr val="bg2"/>
                </a:solidFill>
                <a:hlinkClick r:id="rId7"/>
              </a:rPr>
              <a:t>Covidvaccines@un.org</a:t>
            </a:r>
            <a:br>
              <a:rPr lang="en-US" sz="4000" b="0" dirty="0">
                <a:solidFill>
                  <a:schemeClr val="bg2"/>
                </a:solidFill>
              </a:rPr>
            </a:br>
            <a:br>
              <a:rPr lang="en-US" sz="4000" b="0" dirty="0">
                <a:solidFill>
                  <a:schemeClr val="bg2"/>
                </a:solidFill>
              </a:rPr>
            </a:br>
            <a:br>
              <a:rPr lang="en-US" sz="4000" b="0" dirty="0">
                <a:solidFill>
                  <a:schemeClr val="bg2"/>
                </a:solidFill>
              </a:rPr>
            </a:br>
            <a:br>
              <a:rPr lang="en-US" sz="4000" b="0" dirty="0">
                <a:solidFill>
                  <a:schemeClr val="bg2"/>
                </a:solidFill>
              </a:rPr>
            </a:br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D180EB-3F37-45E0-A8A5-B51B5EF4E7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45000" y="457200"/>
            <a:ext cx="4114800" cy="379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9764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8D24970-954E-4204-B77A-42040B60B2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35200" y="838200"/>
            <a:ext cx="8534400" cy="6012088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580883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2A4EFF-221E-4F95-82BF-D7CB2AF9FF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82700" y="762000"/>
            <a:ext cx="10439400" cy="6260728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8194749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CD838B-AA94-4417-83DB-D54FBE8353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59000" y="443132"/>
            <a:ext cx="9245788" cy="6583727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2579672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A0FA84A-3F55-4A27-9C7F-23CBDA04FE0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00FFEBA-B475-44AF-86BC-071CA81F84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1266" y="342900"/>
            <a:ext cx="6562267" cy="662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08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FA1C63-D88C-48F7-A138-116A96951C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4600" y="685800"/>
            <a:ext cx="10840172" cy="6219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9886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8977F8-BDC2-4CE8-B97C-82E00311FC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06600" y="311827"/>
            <a:ext cx="9796421" cy="669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983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E9E07DF-4A5F-454D-A31E-E329CB6BE2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56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E9E07DF-4A5F-454D-A31E-E329CB6BE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56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40E290E-104D-4FA2-901E-157BB37AECB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624013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785F48-4DAB-403B-A159-6B092514A3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1089214"/>
            <a:ext cx="10338176" cy="796736"/>
          </a:xfrm>
        </p:spPr>
        <p:txBody>
          <a:bodyPr/>
          <a:lstStyle/>
          <a:p>
            <a:br>
              <a:rPr lang="en-US" b="0" dirty="0">
                <a:solidFill>
                  <a:schemeClr val="bg2"/>
                </a:solidFill>
              </a:rPr>
            </a:br>
            <a:endParaRPr lang="en-US" sz="16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2364C9-49C5-4EBE-94EE-0281116C11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4152" y="467833"/>
            <a:ext cx="8316495" cy="6379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724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kBC8PoR.K.5wFoIOJI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437279F9-DB32-4F1B-A032-AC77F3EFB71F}" vid="{B213221D-DA05-4039-A785-4AE6BB2527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CB284116B99D439CDA996A8F48F633" ma:contentTypeVersion="5" ma:contentTypeDescription="Create a new document." ma:contentTypeScope="" ma:versionID="9f46f0f61795bb5c77aa3b675c198772">
  <xsd:schema xmlns:xsd="http://www.w3.org/2001/XMLSchema" xmlns:xs="http://www.w3.org/2001/XMLSchema" xmlns:p="http://schemas.microsoft.com/office/2006/metadata/properties" xmlns:ns2="35368d9e-6789-4aeb-b1bb-5b2a92ac00c3" targetNamespace="http://schemas.microsoft.com/office/2006/metadata/properties" ma:root="true" ma:fieldsID="3a67e26bc6820ae78fd3e0fc78b5d683" ns2:_="">
    <xsd:import namespace="35368d9e-6789-4aeb-b1bb-5b2a92ac00c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368d9e-6789-4aeb-b1bb-5b2a92ac00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95e5e678-43ad-40d1-ac60-f89d2cdf5b98"/>
    <ds:schemaRef ds:uri="66598c8a-6b47-4fa5-ac2b-785d0e3e46d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CC33011-97CC-4559-AAF1-D14DAABCA9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368d9e-6789-4aeb-b1bb-5b2a92ac00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OS PPT Template_wide screen</Template>
  <TotalTime>635</TotalTime>
  <Words>146</Words>
  <Application>Microsoft Office PowerPoint</Application>
  <PresentationFormat>Custom</PresentationFormat>
  <Paragraphs>23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Arial</vt:lpstr>
      <vt:lpstr>Calibri</vt:lpstr>
      <vt:lpstr>Office Theme</vt:lpstr>
      <vt:lpstr>think-cell Slide</vt:lpstr>
      <vt:lpstr>LUTTER CONTRE LA RÉTICENCE À LA VACCINATION CONTRE LA COVID-19</vt:lpstr>
      <vt:lpstr>Préoccupations concernant le vaccin COVID-19</vt:lpstr>
      <vt:lpstr>PowerPoint Presentation</vt:lpstr>
      <vt:lpstr> </vt:lpstr>
      <vt:lpstr> </vt:lpstr>
      <vt:lpstr>PowerPoint Presentation</vt:lpstr>
      <vt:lpstr> </vt:lpstr>
      <vt:lpstr> </vt:lpstr>
      <vt:lpstr> </vt:lpstr>
      <vt:lpstr>PowerPoint Presentation</vt:lpstr>
      <vt:lpstr>De quelle manière la sécurité, la réponse immunitaire et l'efficacité des vaccins sont-elles testées ? </vt:lpstr>
      <vt:lpstr>PowerPoint Presentation</vt:lpstr>
      <vt:lpstr> Étapes séquentielles vs en parallèle </vt:lpstr>
      <vt:lpstr>PowerPoint Presentation</vt:lpstr>
      <vt:lpstr> </vt:lpstr>
      <vt:lpstr>Essai de phase 3 du vaccin AZ sur 11 000 personnes 30 cas dans le groupe vacciné contre  101 cas dans le groupe témoin </vt:lpstr>
      <vt:lpstr>Risque de thrombocytopénie immunitaire prothrombotique induite par le vaccin » (TIPIV)?</vt:lpstr>
      <vt:lpstr>PowerPoint Presentation</vt:lpstr>
      <vt:lpstr>Quel choix ferez-vous ?</vt:lpstr>
      <vt:lpstr> </vt:lpstr>
      <vt:lpstr>Pour toute question, veuillez contacter dos-dhmosh-public-health@un.org Covidvaccines@un.org     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sther Tan</dc:creator>
  <cp:lastModifiedBy>Kakitsha, Joel</cp:lastModifiedBy>
  <cp:revision>12</cp:revision>
  <cp:lastPrinted>2017-07-13T21:00:05Z</cp:lastPrinted>
  <dcterms:created xsi:type="dcterms:W3CDTF">2021-05-25T17:40:01Z</dcterms:created>
  <dcterms:modified xsi:type="dcterms:W3CDTF">2021-06-13T07:3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CB284116B99D439CDA996A8F48F633</vt:lpwstr>
  </property>
</Properties>
</file>